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60" r:id="rId5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4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662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80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862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481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81800" cy="4452937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Headline, Frutiger LT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B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A3432A0-F513-4930-BCD5-B4BD00DAAEF3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28DD29-2A8B-4A4D-A7BC-8DCCFF50436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B0E97B0-79E4-4EE2-931A-53B30FA4703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1187288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91207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75705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1000"/>
              </a:spcAft>
              <a:defRPr sz="28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Headline, </a:t>
            </a:r>
            <a:r>
              <a:rPr lang="de-DE"/>
              <a:t>Frutiger Bd </a:t>
            </a:r>
            <a:r>
              <a:rPr lang="de-DE" dirty="0"/>
              <a:t>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err="1"/>
              <a:t>Com</a:t>
            </a:r>
            <a:r>
              <a:rPr lang="de-DE"/>
              <a:t> Lt </a:t>
            </a:r>
            <a:r>
              <a:rPr lang="de-DE" dirty="0"/>
              <a:t>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9C7DF2-26E3-41FC-BBA4-D04F3C8A789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82DDE9E-9713-44C6-8C76-61BAF975C2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A6C6CE5-B69A-4AFB-BE84-FD1E0C29228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53356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281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7355B916-F5BD-44FA-A46A-0DDC6C436E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78"/>
          <a:stretch/>
        </p:blipFill>
        <p:spPr>
          <a:xfrm>
            <a:off x="1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95B9307-B714-4F6E-A2FC-68DD27444FCD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B0E546C-CA1A-4085-B98B-53E34E1FDA0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55CE55-FB14-4252-8735-FF4916096C8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817861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78909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>
            <a:extLst>
              <a:ext uri="{FF2B5EF4-FFF2-40B4-BE49-F238E27FC236}">
                <a16:creationId xmlns:a16="http://schemas.microsoft.com/office/drawing/2014/main" id="{6B89D7C3-6348-44ED-84FD-9C88687DD027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10278"/>
          <a:stretch/>
        </p:blipFill>
        <p:spPr>
          <a:xfrm>
            <a:off x="0" y="1"/>
            <a:ext cx="12192000" cy="615315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9D065BA7-85F8-4EE9-B742-24693D51D89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3A42444-18F6-4DEB-8F09-69EB8CDC5A9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9E246-7B08-4017-9C02-690D3087617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49869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8308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2B98C0-CD3B-4858-9EBF-1ABA8A5F485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A9339C1-56D0-4552-B568-77AAE6F881E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5B5A5E-5260-4ADB-9A78-B7522733BFD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974368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958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2C97856-E56E-4A7B-9E6B-645BE57712DA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167E4E3-ED26-4131-9FAE-8897857FA6C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BAB7EBF-0F2E-4271-97C4-6F0AE76E65E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56054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5400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95663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5388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91625" y="1703388"/>
            <a:ext cx="252095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7CDA72C-07CE-4657-8099-B172E870DCFC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ED38EC9-DDD7-4F50-82AB-C2270DB3077B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5164EA96-4C0A-4998-B81C-3BACDCEA4A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154588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01942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CFAEF65E-2013-4B54-9E56-910C87DFAA2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6275388" y="1"/>
            <a:ext cx="5916612" cy="6153149"/>
          </a:xfrm>
          <a:custGeom>
            <a:avLst/>
            <a:gdLst>
              <a:gd name="connsiteX0" fmla="*/ 0 w 5916612"/>
              <a:gd name="connsiteY0" fmla="*/ 0 h 6156325"/>
              <a:gd name="connsiteX1" fmla="*/ 5916612 w 5916612"/>
              <a:gd name="connsiteY1" fmla="*/ 0 h 6156325"/>
              <a:gd name="connsiteX2" fmla="*/ 5916612 w 5916612"/>
              <a:gd name="connsiteY2" fmla="*/ 6156325 h 6156325"/>
              <a:gd name="connsiteX3" fmla="*/ 0 w 5916612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16612" h="6156325">
                <a:moveTo>
                  <a:pt x="0" y="0"/>
                </a:moveTo>
                <a:lnTo>
                  <a:pt x="5916612" y="0"/>
                </a:lnTo>
                <a:lnTo>
                  <a:pt x="5916612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B02C48D-A93F-4C6A-B03C-EBD08B60F12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6BDEA1B9-B24B-4D57-B058-B115ADC06D9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AD781B2-9C61-4882-AD01-A0C987D5BEDD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83902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284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74C1AFAD-5D62-4BBC-A0F2-D7498EBFA13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8220075" y="1"/>
            <a:ext cx="3971925" cy="6153149"/>
          </a:xfrm>
          <a:custGeom>
            <a:avLst/>
            <a:gdLst>
              <a:gd name="connsiteX0" fmla="*/ 0 w 3971925"/>
              <a:gd name="connsiteY0" fmla="*/ 0 h 6156325"/>
              <a:gd name="connsiteX1" fmla="*/ 3971925 w 3971925"/>
              <a:gd name="connsiteY1" fmla="*/ 0 h 6156325"/>
              <a:gd name="connsiteX2" fmla="*/ 3971925 w 3971925"/>
              <a:gd name="connsiteY2" fmla="*/ 6156325 h 6156325"/>
              <a:gd name="connsiteX3" fmla="*/ 0 w 3971925"/>
              <a:gd name="connsiteY3" fmla="*/ 6156325 h 6156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71925" h="6156325">
                <a:moveTo>
                  <a:pt x="0" y="0"/>
                </a:moveTo>
                <a:lnTo>
                  <a:pt x="3971925" y="0"/>
                </a:lnTo>
                <a:lnTo>
                  <a:pt x="3971925" y="6156325"/>
                </a:lnTo>
                <a:lnTo>
                  <a:pt x="0" y="6156325"/>
                </a:lnTo>
                <a:close/>
              </a:path>
            </a:pathLst>
          </a:custGeom>
          <a:solidFill>
            <a:schemeClr val="bg2">
              <a:lumMod val="20000"/>
              <a:lumOff val="80000"/>
            </a:schemeClr>
          </a:solidFill>
        </p:spPr>
        <p:txBody>
          <a:bodyPr wrap="square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AA1C435-BE97-4ADF-8F14-C82E03EE0355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2A69639-E1C4-4FDB-A492-46962B10A51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95B9FAE-D08C-4661-B176-A0EAA1428374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20472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144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4580799-6CA8-4E79-B6A8-7CEC7DE6B371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FFD07C3-3AC8-443B-9A9C-69C14429382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C6B76B4-FD05-4521-A9B8-94DCF2391F9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771596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763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58989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6622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D40944-3B70-422E-9A83-B06079C22C6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E9EBAA3-4CD5-4D80-A5ED-62A7BAE0A98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91632C5-2A5E-486C-A005-3993C40F70E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433976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3755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BDB3F52-3132-4FCE-9245-400432785EC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F7D269B-861C-4C29-9AA1-AC9F6193EF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9AD6CBFC-7EA8-4A59-ADD7-332586C3641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4434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1068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8199" y="1703388"/>
            <a:ext cx="5437188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75388" y="1703388"/>
            <a:ext cx="5437187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7C554D4-061E-46C5-92EC-EDBF599AFD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750D2F-7AC5-4879-8C19-DDC98EDCDE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97D65A9-86C3-4B8F-8904-153D2F8CAFF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41163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96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3744">
                <a:srgbClr val="00779A">
                  <a:lumMod val="100000"/>
                </a:srgbClr>
              </a:gs>
              <a:gs pos="0">
                <a:srgbClr val="014A6B"/>
              </a:gs>
              <a:gs pos="75000">
                <a:srgbClr val="4DC7D2">
                  <a:lumMod val="90000"/>
                  <a:lumOff val="10000"/>
                </a:srgbClr>
              </a:gs>
              <a:gs pos="100000">
                <a:srgbClr val="04B1AA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—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1700213"/>
            <a:ext cx="5437187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r>
              <a:rPr lang="de-DE" dirty="0" err="1"/>
              <a:t>Subline</a:t>
            </a:r>
            <a:r>
              <a:rPr lang="de-DE" dirty="0"/>
              <a:t>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0 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695CE19-2635-48CD-86C5-A6711E8F240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8987410-0067-43D6-9FB8-E4A3CFE6622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7B4A690-2DD5-436A-A09D-218E639343B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03359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5766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/>
        </p:nvGrpSpPr>
        <p:grpSpPr>
          <a:xfrm>
            <a:off x="479425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719F7FF-9FD8-4FC6-AE77-A349B0ACD5C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3B70818-BA9A-4A9E-BB42-894CD16E6FD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C8D05E3-CD28-43C1-A7F2-3AD6FBD49D7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519493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0368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12">
            <a:extLst>
              <a:ext uri="{FF2B5EF4-FFF2-40B4-BE49-F238E27FC236}">
                <a16:creationId xmlns:a16="http://schemas.microsoft.com/office/drawing/2014/main" id="{F8D4B216-A5F7-4214-889D-75DD098CB82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0209"/>
          <a:stretch/>
        </p:blipFill>
        <p:spPr>
          <a:xfrm>
            <a:off x="1" y="-4763"/>
            <a:ext cx="12192000" cy="6157913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Zitat</a:t>
            </a:r>
            <a:endParaRPr lang="de-DE" dirty="0"/>
          </a:p>
          <a:p>
            <a:pPr lvl="1"/>
            <a:r>
              <a:rPr lang="de-DE"/>
              <a:t>Name des Autors</a:t>
            </a:r>
            <a:endParaRPr lang="de-DE" dirty="0"/>
          </a:p>
          <a:p>
            <a:pPr lvl="2"/>
            <a:r>
              <a:rPr lang="de-DE"/>
              <a:t>Position</a:t>
            </a:r>
            <a:endParaRPr lang="de-DE" dirty="0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/>
        </p:nvGrpSpPr>
        <p:grpSpPr>
          <a:xfrm>
            <a:off x="479425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647DF70-C076-4A26-9F94-6FA1181DF1F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1784F8B-F977-42FC-A651-A02A01C602E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160083F-34CE-4BF0-AB01-7CCA0176F2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724538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9682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51354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3232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4444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4880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Grafik 5">
            <a:extLst>
              <a:ext uri="{FF2B5EF4-FFF2-40B4-BE49-F238E27FC236}">
                <a16:creationId xmlns:a16="http://schemas.microsoft.com/office/drawing/2014/main" id="{9233E68D-B08D-4763-8344-83249244269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Kontak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Titel Vorname Name</a:t>
            </a:r>
            <a:endParaRPr lang="de-DE" dirty="0"/>
          </a:p>
          <a:p>
            <a:pPr lvl="2"/>
            <a:r>
              <a:rPr lang="de-DE"/>
              <a:t>Geschäftsbereich XXX</a:t>
            </a:r>
            <a:endParaRPr lang="de-DE" dirty="0"/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/>
              <a:t>Straße XY</a:t>
            </a:r>
            <a:endParaRPr lang="pt-BR" dirty="0"/>
          </a:p>
          <a:p>
            <a:pPr lvl="3"/>
            <a:r>
              <a:rPr lang="pt-BR"/>
              <a:t>12345 Stadt</a:t>
            </a:r>
            <a:endParaRPr lang="pt-BR" dirty="0"/>
          </a:p>
          <a:p>
            <a:pPr lvl="3"/>
            <a:r>
              <a:rPr lang="pt-BR" dirty="0"/>
              <a:t>www.fraunhofer.de</a:t>
            </a:r>
          </a:p>
        </p:txBody>
      </p:sp>
      <p:pic>
        <p:nvPicPr>
          <p:cNvPr id="7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87222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97001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9F17E90D-0C11-4C1A-9AB0-99DFB3D05F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Vielen Dank für Ihre Aufmerksamkeit</a:t>
            </a:r>
            <a:endParaRPr lang="de-DE" dirty="0"/>
          </a:p>
          <a:p>
            <a:pPr lvl="1"/>
            <a:r>
              <a:rPr lang="de-DE" dirty="0"/>
              <a:t>—</a:t>
            </a:r>
          </a:p>
        </p:txBody>
      </p:sp>
      <p:pic>
        <p:nvPicPr>
          <p:cNvPr id="7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473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666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3340524"/>
            <a:ext cx="5916612" cy="264435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88525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6331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4821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33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875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3003515"/>
            <a:ext cx="7824783" cy="2502389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9110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3540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2669101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71580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54692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Grafik 6">
            <a:extLst>
              <a:ext uri="{FF2B5EF4-FFF2-40B4-BE49-F238E27FC236}">
                <a16:creationId xmlns:a16="http://schemas.microsoft.com/office/drawing/2014/main" id="{FCA74BF2-60AE-432D-B809-6CE549DEA8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/>
              <a:t>Subline/Referent/Datum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6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21807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8537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1CDBC4F6-986A-4A45-A632-2613DCB199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Lt</a:t>
            </a:r>
            <a:r>
              <a:rPr lang="de-DE" dirty="0"/>
              <a:t>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/>
              <a:t>Subline/Referent/Datum</a:t>
            </a:r>
            <a:endParaRPr lang="de-DE" dirty="0"/>
          </a:p>
          <a:p>
            <a:pPr lvl="3"/>
            <a:r>
              <a:rPr lang="de-DE"/>
              <a:t>Referenten</a:t>
            </a:r>
            <a:endParaRPr lang="de-DE" dirty="0"/>
          </a:p>
        </p:txBody>
      </p:sp>
      <p:pic>
        <p:nvPicPr>
          <p:cNvPr id="7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92575" y="476250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4993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4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153149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3744">
                <a:srgbClr val="00779A">
                  <a:lumMod val="100000"/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5000">
                <a:srgbClr val="4DC7D2">
                  <a:lumMod val="90000"/>
                  <a:lumOff val="10000"/>
                  <a:alpha val="95000"/>
                </a:srgbClr>
              </a:gs>
              <a:gs pos="100000">
                <a:srgbClr val="04B1AA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75 Black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00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, Frutiger LT </a:t>
            </a:r>
            <a:r>
              <a:rPr lang="de-DE" err="1"/>
              <a:t>Com</a:t>
            </a:r>
            <a:r>
              <a:rPr lang="de-DE"/>
              <a:t> B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4BA1D15-0475-4B03-86A1-56C3D9C6307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16ECF15-13D4-44C4-B713-BCD347A79FE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DDBA688-BE97-41EF-8F34-A1FF74ABCB8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  <p:pic>
        <p:nvPicPr>
          <p:cNvPr id="11" name="isi_rgb_modul_send_de">
            <a:extLst>
              <a:ext uri="{FF2B5EF4-FFF2-40B4-BE49-F238E27FC236}">
                <a16:creationId xmlns:a16="http://schemas.microsoft.com/office/drawing/2014/main" id="{9E52BB4F-9154-4677-A766-12E9B073ACB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5774" y="485775"/>
            <a:ext cx="2520000" cy="1471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520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41291534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34" imgW="344" imgH="345" progId="TCLayout.ActiveDocument.1">
                  <p:embed/>
                </p:oleObj>
              </mc:Choice>
              <mc:Fallback>
                <p:oleObj name="think-cell Folie" r:id="rId3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/>
              <a:t>Headline, Frutiger LT Com Bd, 24 pt, Kapiteltrenner</a:t>
            </a:r>
            <a:endParaRPr lang="de-DE" noProof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Level 1</a:t>
            </a:r>
          </a:p>
          <a:p>
            <a:pPr lvl="1"/>
            <a:r>
              <a:rPr lang="de-DE" noProof="0" dirty="0"/>
              <a:t>Level 2</a:t>
            </a:r>
          </a:p>
          <a:p>
            <a:pPr lvl="2"/>
            <a:r>
              <a:rPr lang="de-DE" noProof="0" dirty="0"/>
              <a:t>Level 3</a:t>
            </a:r>
          </a:p>
          <a:p>
            <a:pPr lvl="3"/>
            <a:r>
              <a:rPr lang="de-DE" noProof="0" dirty="0"/>
              <a:t>Level 4</a:t>
            </a:r>
          </a:p>
          <a:p>
            <a:pPr lvl="4"/>
            <a:r>
              <a:rPr lang="de-DE" noProof="0" dirty="0"/>
              <a:t>Level 5</a:t>
            </a:r>
          </a:p>
          <a:p>
            <a:pPr lvl="5"/>
            <a:r>
              <a:rPr lang="de-DE" noProof="0" dirty="0"/>
              <a:t>Level 6</a:t>
            </a:r>
          </a:p>
          <a:p>
            <a:pPr lvl="6"/>
            <a:r>
              <a:rPr lang="de-DE" noProof="0" dirty="0"/>
              <a:t>Level 7</a:t>
            </a:r>
          </a:p>
          <a:p>
            <a:pPr lvl="7"/>
            <a:r>
              <a:rPr lang="de-DE" noProof="0" dirty="0"/>
              <a:t>Level 8</a:t>
            </a:r>
          </a:p>
          <a:p>
            <a:pPr lvl="8"/>
            <a:r>
              <a:rPr lang="de-DE" noProof="0" dirty="0"/>
              <a:t>Level 9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09947" y="6455836"/>
            <a:ext cx="864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F0EB19F2-9912-4A3A-ACAC-7C93CB49B865}" type="datetimeFigureOut">
              <a:rPr lang="de-DE" smtClean="0"/>
              <a:t>19.04.2023</a:t>
            </a:fld>
            <a:endParaRPr lang="de-DE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de-DE"/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/>
        </p:nvCxnSpPr>
        <p:spPr bwMode="gray">
          <a:xfrm>
            <a:off x="0" y="6146006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Informationsklassifizierung">
            <a:extLst>
              <a:ext uri="{FF2B5EF4-FFF2-40B4-BE49-F238E27FC236}">
                <a16:creationId xmlns:a16="http://schemas.microsoft.com/office/drawing/2014/main" id="{6C489D0F-950D-4913-86C7-7EB1061786F3}"/>
              </a:ext>
            </a:extLst>
          </p:cNvPr>
          <p:cNvSpPr txBox="1">
            <a:spLocks/>
          </p:cNvSpPr>
          <p:nvPr/>
        </p:nvSpPr>
        <p:spPr bwMode="gray">
          <a:xfrm>
            <a:off x="5373847" y="6455836"/>
            <a:ext cx="1444306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800" b="1">
                <a:latin typeface="+mj-lt"/>
              </a:rPr>
              <a:t>Offen</a:t>
            </a:r>
            <a:endParaRPr lang="en-US" sz="800" b="1" dirty="0">
              <a:latin typeface="+mj-lt"/>
            </a:endParaRP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9EED91C-7E81-4D59-8D3D-748F372837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11843" y="6455835"/>
            <a:ext cx="408932" cy="123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32880160-D885-4A1C-9B3E-E7FD453FDF1C}" type="slidenum">
              <a:rPr lang="de-DE" smtClean="0"/>
              <a:t>‹Nr.›</a:t>
            </a:fld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31E4CF01-6D6F-4B29-B924-0F3D1CED79B9}"/>
              </a:ext>
            </a:extLst>
          </p:cNvPr>
          <p:cNvSpPr txBox="1"/>
          <p:nvPr/>
        </p:nvSpPr>
        <p:spPr>
          <a:xfrm>
            <a:off x="479425" y="6455836"/>
            <a:ext cx="232417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l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sz="800"/>
              <a:t>Seite</a:t>
            </a:r>
            <a:endParaRPr lang="de-DE" sz="800" dirty="0"/>
          </a:p>
        </p:txBody>
      </p:sp>
      <p:pic>
        <p:nvPicPr>
          <p:cNvPr id="13" name="isi_rgb">
            <a:extLst>
              <a:ext uri="{FF2B5EF4-FFF2-40B4-BE49-F238E27FC236}">
                <a16:creationId xmlns:a16="http://schemas.microsoft.com/office/drawing/2014/main" id="{1C489BD1-033E-40FA-9E17-CC66E278A84B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10309226" y="6334126"/>
            <a:ext cx="1404000" cy="372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60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  <p15:guide id="9" orient="horz" pos="38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-1" y="3164963"/>
            <a:ext cx="11712575" cy="2819912"/>
          </a:xfrm>
        </p:spPr>
        <p:txBody>
          <a:bodyPr/>
          <a:lstStyle/>
          <a:p>
            <a:r>
              <a:rPr lang="de-DE" b="1" dirty="0"/>
              <a:t>Industrielle Wärmewende in den BMWK Langfristszenarien</a:t>
            </a:r>
          </a:p>
          <a:p>
            <a:r>
              <a:rPr lang="de-DE" sz="1800" dirty="0"/>
              <a:t>Kurz-Einordnung der Ergebnisse </a:t>
            </a:r>
            <a:r>
              <a:rPr lang="de-DE" sz="1800" dirty="0" err="1"/>
              <a:t>derSoBio</a:t>
            </a:r>
            <a:r>
              <a:rPr lang="de-DE" sz="1800" dirty="0"/>
              <a:t>-Szenarien</a:t>
            </a:r>
          </a:p>
          <a:p>
            <a:r>
              <a:rPr lang="de-DE" sz="1800" dirty="0"/>
              <a:t>20.4.2023, online</a:t>
            </a:r>
          </a:p>
          <a:p>
            <a:endParaRPr lang="de-DE" sz="1800" dirty="0"/>
          </a:p>
          <a:p>
            <a:r>
              <a:rPr lang="de-DE" sz="1800" dirty="0"/>
              <a:t>Matthias Rehfeldt</a:t>
            </a:r>
          </a:p>
        </p:txBody>
      </p:sp>
    </p:spTree>
    <p:extLst>
      <p:ext uri="{BB962C8B-B14F-4D97-AF65-F5344CB8AC3E}">
        <p14:creationId xmlns:p14="http://schemas.microsoft.com/office/powerpoint/2010/main" val="10416023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de-DE" dirty="0"/>
              <a:t>Ähnliche Bewertung von Potential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Langfristszenarien – Niedertemperatur [PJ]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0843"/>
          </a:xfrm>
        </p:spPr>
        <p:txBody>
          <a:bodyPr/>
          <a:lstStyle/>
          <a:p>
            <a:r>
              <a:rPr lang="de-DE" dirty="0" err="1"/>
              <a:t>SoBio</a:t>
            </a:r>
            <a:r>
              <a:rPr lang="de-DE" dirty="0"/>
              <a:t> – Niedertemperatur [PJ]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HT-Wärmepumpe erscheint als robuste Lösung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75388" y="2439841"/>
            <a:ext cx="5184031" cy="294435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612" y="2439841"/>
            <a:ext cx="5771388" cy="3250692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5411894" y="3285067"/>
            <a:ext cx="284480" cy="1923626"/>
          </a:xfrm>
          <a:prstGeom prst="rect">
            <a:avLst/>
          </a:prstGeom>
          <a:solidFill>
            <a:srgbClr val="FFFF00">
              <a:alpha val="50000"/>
            </a:srgbClr>
          </a:solidFill>
          <a:ln w="28575">
            <a:solidFill>
              <a:srgbClr val="BB005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6" name="Rechteck 15"/>
          <p:cNvSpPr/>
          <p:nvPr/>
        </p:nvSpPr>
        <p:spPr>
          <a:xfrm>
            <a:off x="10971415" y="3664373"/>
            <a:ext cx="294533" cy="1393107"/>
          </a:xfrm>
          <a:prstGeom prst="rect">
            <a:avLst/>
          </a:prstGeom>
          <a:solidFill>
            <a:srgbClr val="FFFF00">
              <a:alpha val="50000"/>
            </a:srgbClr>
          </a:solidFill>
          <a:ln w="28575">
            <a:solidFill>
              <a:srgbClr val="BB005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5411894" y="5234632"/>
            <a:ext cx="284480" cy="149564"/>
          </a:xfrm>
          <a:prstGeom prst="rect">
            <a:avLst/>
          </a:prstGeom>
          <a:solidFill>
            <a:srgbClr val="179C7D">
              <a:alpha val="50000"/>
            </a:srgbClr>
          </a:solidFill>
          <a:ln w="28575">
            <a:solidFill>
              <a:srgbClr val="FDB91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10971415" y="3493610"/>
            <a:ext cx="284480" cy="149564"/>
          </a:xfrm>
          <a:prstGeom prst="rect">
            <a:avLst/>
          </a:prstGeom>
          <a:solidFill>
            <a:srgbClr val="179C7D">
              <a:alpha val="50000"/>
            </a:srgbClr>
          </a:solidFill>
          <a:ln w="28575">
            <a:solidFill>
              <a:srgbClr val="FDB91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0" name="Gerade Verbindung mit Pfeil 19"/>
          <p:cNvCxnSpPr>
            <a:stCxn id="14" idx="3"/>
            <a:endCxn id="16" idx="1"/>
          </p:cNvCxnSpPr>
          <p:nvPr/>
        </p:nvCxnSpPr>
        <p:spPr>
          <a:xfrm>
            <a:off x="5696374" y="4246880"/>
            <a:ext cx="5275041" cy="114047"/>
          </a:xfrm>
          <a:prstGeom prst="straightConnector1">
            <a:avLst/>
          </a:prstGeom>
          <a:ln w="38100">
            <a:solidFill>
              <a:srgbClr val="BB005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>
            <a:stCxn id="17" idx="3"/>
            <a:endCxn id="18" idx="1"/>
          </p:cNvCxnSpPr>
          <p:nvPr/>
        </p:nvCxnSpPr>
        <p:spPr>
          <a:xfrm flipV="1">
            <a:off x="5696374" y="3568392"/>
            <a:ext cx="5275041" cy="1741022"/>
          </a:xfrm>
          <a:prstGeom prst="straightConnector1">
            <a:avLst/>
          </a:prstGeom>
          <a:ln w="38100">
            <a:solidFill>
              <a:srgbClr val="FDB91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711843" y="6455835"/>
            <a:ext cx="408932" cy="123112"/>
          </a:xfrm>
        </p:spPr>
        <p:txBody>
          <a:bodyPr/>
          <a:lstStyle/>
          <a:p>
            <a:fld id="{ED7CD14F-9554-43FB-B58A-34A9BD284342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16371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7" grpId="0" animBg="1"/>
      <p:bldP spid="18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Unterschiedliche Bewertung von Potential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8168640" cy="4284662"/>
          </a:xfrm>
        </p:spPr>
        <p:txBody>
          <a:bodyPr/>
          <a:lstStyle/>
          <a:p>
            <a:r>
              <a:rPr lang="de-DE" dirty="0"/>
              <a:t>Langfristszenarien – Hochtemperatur [PJ]</a:t>
            </a:r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2103" y="2453894"/>
            <a:ext cx="5752405" cy="3240000"/>
          </a:xfrm>
          <a:prstGeom prst="rect">
            <a:avLst/>
          </a:prstGeom>
        </p:spPr>
      </p:pic>
      <p:sp>
        <p:nvSpPr>
          <p:cNvPr id="5" name="Textplatzhalter 4"/>
          <p:cNvSpPr>
            <a:spLocks noGrp="1"/>
          </p:cNvSpPr>
          <p:nvPr>
            <p:ph type="body" sz="quarter" idx="14"/>
          </p:nvPr>
        </p:nvSpPr>
        <p:spPr>
          <a:xfrm>
            <a:off x="8635632" y="1700213"/>
            <a:ext cx="3145091" cy="270843"/>
          </a:xfrm>
        </p:spPr>
        <p:txBody>
          <a:bodyPr/>
          <a:lstStyle/>
          <a:p>
            <a:r>
              <a:rPr lang="de-DE" dirty="0" err="1"/>
              <a:t>SoBio</a:t>
            </a:r>
            <a:r>
              <a:rPr lang="de-DE" dirty="0"/>
              <a:t> – Hochtemperatur [PJ]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de-DE" dirty="0"/>
              <a:t>Elektrifizierung gegenüber Verfügbarkeit nachhaltiger Biomasse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5818" y="2199607"/>
            <a:ext cx="3144905" cy="1800000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35632" y="4228158"/>
            <a:ext cx="3145091" cy="1800000"/>
          </a:xfrm>
          <a:prstGeom prst="rect">
            <a:avLst/>
          </a:prstGeom>
        </p:spPr>
      </p:pic>
      <p:sp>
        <p:nvSpPr>
          <p:cNvPr id="17" name="Rechteck 16"/>
          <p:cNvSpPr/>
          <p:nvPr/>
        </p:nvSpPr>
        <p:spPr>
          <a:xfrm>
            <a:off x="5411894" y="4732719"/>
            <a:ext cx="284480" cy="649522"/>
          </a:xfrm>
          <a:prstGeom prst="rect">
            <a:avLst/>
          </a:prstGeom>
          <a:solidFill>
            <a:srgbClr val="FFFF00">
              <a:alpha val="50000"/>
            </a:srgbClr>
          </a:solidFill>
          <a:ln w="28575">
            <a:solidFill>
              <a:srgbClr val="BB005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Rechteck 17"/>
          <p:cNvSpPr/>
          <p:nvPr/>
        </p:nvSpPr>
        <p:spPr>
          <a:xfrm>
            <a:off x="5993690" y="4431604"/>
            <a:ext cx="2174950" cy="1393107"/>
          </a:xfrm>
          <a:prstGeom prst="rect">
            <a:avLst/>
          </a:prstGeom>
          <a:solidFill>
            <a:srgbClr val="FFFF00">
              <a:alpha val="50000"/>
            </a:srgbClr>
          </a:solidFill>
          <a:ln w="2857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buClr>
                <a:schemeClr val="accent1"/>
              </a:buClr>
            </a:pPr>
            <a:r>
              <a:rPr lang="de-DE" sz="1000" b="1" dirty="0">
                <a:solidFill>
                  <a:schemeClr val="tx1"/>
                </a:solidFill>
              </a:rPr>
              <a:t>Elektrifizierungspotential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Sekundärstahl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Metallverarbeitung (Erwärmen, Wärmebehandlung, Schmelzen)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Teilweise Zementklinker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Glas, Keramik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Kunststoffverarbeitung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Grundstoffchemie</a:t>
            </a:r>
          </a:p>
        </p:txBody>
      </p:sp>
      <p:sp>
        <p:nvSpPr>
          <p:cNvPr id="19" name="Rechteck 18"/>
          <p:cNvSpPr/>
          <p:nvPr/>
        </p:nvSpPr>
        <p:spPr>
          <a:xfrm>
            <a:off x="5411894" y="3584665"/>
            <a:ext cx="284480" cy="114071"/>
          </a:xfrm>
          <a:prstGeom prst="rect">
            <a:avLst/>
          </a:prstGeom>
          <a:solidFill>
            <a:srgbClr val="179C7D">
              <a:alpha val="50000"/>
            </a:srgbClr>
          </a:solidFill>
          <a:ln w="28575">
            <a:solidFill>
              <a:srgbClr val="FDB91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20" name="Rechteck 19"/>
          <p:cNvSpPr/>
          <p:nvPr/>
        </p:nvSpPr>
        <p:spPr>
          <a:xfrm>
            <a:off x="11477769" y="2682240"/>
            <a:ext cx="284480" cy="1160304"/>
          </a:xfrm>
          <a:prstGeom prst="rect">
            <a:avLst/>
          </a:prstGeom>
          <a:solidFill>
            <a:srgbClr val="179C7D">
              <a:alpha val="50000"/>
            </a:srgbClr>
          </a:solidFill>
          <a:ln w="28575">
            <a:solidFill>
              <a:srgbClr val="FDB91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21" name="Gerade Verbindung mit Pfeil 20"/>
          <p:cNvCxnSpPr>
            <a:stCxn id="17" idx="3"/>
          </p:cNvCxnSpPr>
          <p:nvPr/>
        </p:nvCxnSpPr>
        <p:spPr>
          <a:xfrm flipV="1">
            <a:off x="5696374" y="5054991"/>
            <a:ext cx="302342" cy="2489"/>
          </a:xfrm>
          <a:prstGeom prst="straightConnector1">
            <a:avLst/>
          </a:prstGeom>
          <a:ln w="38100">
            <a:solidFill>
              <a:srgbClr val="BB0056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mit Pfeil 21"/>
          <p:cNvCxnSpPr>
            <a:stCxn id="19" idx="3"/>
            <a:endCxn id="42" idx="1"/>
          </p:cNvCxnSpPr>
          <p:nvPr/>
        </p:nvCxnSpPr>
        <p:spPr>
          <a:xfrm flipV="1">
            <a:off x="5696374" y="2579960"/>
            <a:ext cx="297316" cy="1061741"/>
          </a:xfrm>
          <a:prstGeom prst="straightConnector1">
            <a:avLst/>
          </a:prstGeom>
          <a:ln w="38100">
            <a:solidFill>
              <a:srgbClr val="FDB91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/>
          <p:cNvSpPr/>
          <p:nvPr/>
        </p:nvSpPr>
        <p:spPr>
          <a:xfrm>
            <a:off x="11477769" y="4905329"/>
            <a:ext cx="284480" cy="965766"/>
          </a:xfrm>
          <a:prstGeom prst="rect">
            <a:avLst/>
          </a:prstGeom>
          <a:solidFill>
            <a:srgbClr val="179C7D">
              <a:alpha val="50000"/>
            </a:srgbClr>
          </a:solidFill>
          <a:ln w="28575">
            <a:solidFill>
              <a:srgbClr val="FDB91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36" name="Gerade Verbindung mit Pfeil 35"/>
          <p:cNvCxnSpPr>
            <a:stCxn id="42" idx="3"/>
            <a:endCxn id="35" idx="1"/>
          </p:cNvCxnSpPr>
          <p:nvPr/>
        </p:nvCxnSpPr>
        <p:spPr>
          <a:xfrm>
            <a:off x="8168640" y="2579960"/>
            <a:ext cx="3309129" cy="2808252"/>
          </a:xfrm>
          <a:prstGeom prst="straightConnector1">
            <a:avLst/>
          </a:prstGeom>
          <a:ln w="38100">
            <a:solidFill>
              <a:srgbClr val="FDB91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/>
          <p:cNvSpPr/>
          <p:nvPr/>
        </p:nvSpPr>
        <p:spPr>
          <a:xfrm>
            <a:off x="5993690" y="1721026"/>
            <a:ext cx="2174950" cy="1717868"/>
          </a:xfrm>
          <a:prstGeom prst="rect">
            <a:avLst/>
          </a:prstGeom>
          <a:solidFill>
            <a:srgbClr val="FFFF00">
              <a:alpha val="50000"/>
            </a:srgbClr>
          </a:solidFill>
          <a:ln w="2857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buClr>
                <a:schemeClr val="accent1"/>
              </a:buClr>
            </a:pPr>
            <a:r>
              <a:rPr lang="de-DE" sz="1000" b="1" dirty="0">
                <a:solidFill>
                  <a:schemeClr val="tx1"/>
                </a:solidFill>
              </a:rPr>
              <a:t>Biomassepotential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Annahme: etwa 800PJ (</a:t>
            </a:r>
            <a:r>
              <a:rPr lang="de-DE" sz="1000">
                <a:solidFill>
                  <a:schemeClr val="tx1"/>
                </a:solidFill>
              </a:rPr>
              <a:t>gegenüber 600-1900 </a:t>
            </a:r>
            <a:r>
              <a:rPr lang="de-DE" sz="1000" dirty="0">
                <a:solidFill>
                  <a:schemeClr val="tx1"/>
                </a:solidFill>
              </a:rPr>
              <a:t>PJ in </a:t>
            </a:r>
            <a:r>
              <a:rPr lang="de-DE" sz="1000" dirty="0" err="1">
                <a:solidFill>
                  <a:schemeClr val="tx1"/>
                </a:solidFill>
              </a:rPr>
              <a:t>SoBio</a:t>
            </a:r>
            <a:r>
              <a:rPr lang="de-DE" sz="1000" dirty="0">
                <a:solidFill>
                  <a:schemeClr val="tx1"/>
                </a:solidFill>
              </a:rPr>
              <a:t>).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Vorrangig von Verkehr mit Bedarf an hoher Energiedichte (Kohlenwasserstoffe) genutzt.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Biogene Reststoffnutzung verbleibt in Industrie.</a:t>
            </a:r>
          </a:p>
          <a:p>
            <a:pPr marL="628650" lvl="1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Papier</a:t>
            </a:r>
          </a:p>
          <a:p>
            <a:pPr marL="628650" lvl="1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Holzverarbeitung</a:t>
            </a:r>
          </a:p>
          <a:p>
            <a:pPr marL="628650" lvl="1" indent="-171450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Mülleinsatz Klinker</a:t>
            </a:r>
          </a:p>
        </p:txBody>
      </p:sp>
      <p:cxnSp>
        <p:nvCxnSpPr>
          <p:cNvPr id="47" name="Gerade Verbindung mit Pfeil 46"/>
          <p:cNvCxnSpPr>
            <a:stCxn id="42" idx="3"/>
            <a:endCxn id="20" idx="1"/>
          </p:cNvCxnSpPr>
          <p:nvPr/>
        </p:nvCxnSpPr>
        <p:spPr>
          <a:xfrm>
            <a:off x="8168640" y="2579960"/>
            <a:ext cx="3309129" cy="682432"/>
          </a:xfrm>
          <a:prstGeom prst="straightConnector1">
            <a:avLst/>
          </a:prstGeom>
          <a:ln w="38100">
            <a:solidFill>
              <a:srgbClr val="FDB913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Foliennummernplatzhalter 2"/>
          <p:cNvSpPr>
            <a:spLocks noGrp="1"/>
          </p:cNvSpPr>
          <p:nvPr>
            <p:ph type="sldNum" sz="quarter" idx="21"/>
          </p:nvPr>
        </p:nvSpPr>
        <p:spPr>
          <a:xfrm>
            <a:off x="711843" y="6455835"/>
            <a:ext cx="408932" cy="123112"/>
          </a:xfrm>
        </p:spPr>
        <p:txBody>
          <a:bodyPr/>
          <a:lstStyle/>
          <a:p>
            <a:fld id="{ED7CD14F-9554-43FB-B58A-34A9BD284342}" type="slidenum">
              <a:rPr lang="de-DE" smtClean="0"/>
              <a:t>3</a:t>
            </a:fld>
            <a:endParaRPr lang="de-DE" dirty="0"/>
          </a:p>
        </p:txBody>
      </p:sp>
      <p:sp>
        <p:nvSpPr>
          <p:cNvPr id="27" name="Rechteck 26"/>
          <p:cNvSpPr/>
          <p:nvPr/>
        </p:nvSpPr>
        <p:spPr>
          <a:xfrm>
            <a:off x="5993690" y="3459706"/>
            <a:ext cx="2174950" cy="980281"/>
          </a:xfrm>
          <a:prstGeom prst="rect">
            <a:avLst/>
          </a:prstGeom>
          <a:solidFill>
            <a:srgbClr val="FFFF00">
              <a:alpha val="50000"/>
            </a:srgbClr>
          </a:solidFill>
          <a:ln w="28575">
            <a:noFill/>
          </a:ln>
          <a:effectLst>
            <a:softEdge rad="3175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algn="l">
              <a:buClr>
                <a:schemeClr val="accent1"/>
              </a:buClr>
            </a:pPr>
            <a:r>
              <a:rPr lang="de-DE" sz="1000" b="1" dirty="0">
                <a:solidFill>
                  <a:schemeClr val="tx1"/>
                </a:solidFill>
              </a:rPr>
              <a:t>Wasserstoff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Direktreduktion Roheis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Nicht- oder schwer </a:t>
            </a:r>
            <a:r>
              <a:rPr lang="de-DE" sz="1000" dirty="0" err="1">
                <a:solidFill>
                  <a:schemeClr val="tx1"/>
                </a:solidFill>
              </a:rPr>
              <a:t>elektrifizierbare</a:t>
            </a:r>
            <a:r>
              <a:rPr lang="de-DE" sz="1000" dirty="0">
                <a:solidFill>
                  <a:schemeClr val="tx1"/>
                </a:solidFill>
              </a:rPr>
              <a:t> Industrieöfen</a:t>
            </a:r>
          </a:p>
          <a:p>
            <a:pPr marL="171450" indent="-171450" algn="l"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</a:rPr>
              <a:t>Wäre unter anderen Annahmen durch Biogene ersetzbar.</a:t>
            </a:r>
          </a:p>
        </p:txBody>
      </p:sp>
      <p:sp>
        <p:nvSpPr>
          <p:cNvPr id="29" name="Rechteck 28"/>
          <p:cNvSpPr/>
          <p:nvPr/>
        </p:nvSpPr>
        <p:spPr>
          <a:xfrm>
            <a:off x="5411894" y="3780914"/>
            <a:ext cx="284480" cy="922527"/>
          </a:xfrm>
          <a:prstGeom prst="rect">
            <a:avLst/>
          </a:prstGeom>
          <a:solidFill>
            <a:srgbClr val="179C7D">
              <a:alpha val="50000"/>
            </a:srgbClr>
          </a:solidFill>
          <a:ln w="28575">
            <a:solidFill>
              <a:srgbClr val="00B0F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de-DE" sz="1400" dirty="0">
              <a:solidFill>
                <a:schemeClr val="tx1"/>
              </a:solidFill>
            </a:endParaRPr>
          </a:p>
        </p:txBody>
      </p:sp>
      <p:cxnSp>
        <p:nvCxnSpPr>
          <p:cNvPr id="30" name="Gerade Verbindung mit Pfeil 29"/>
          <p:cNvCxnSpPr>
            <a:stCxn id="29" idx="3"/>
            <a:endCxn id="27" idx="1"/>
          </p:cNvCxnSpPr>
          <p:nvPr/>
        </p:nvCxnSpPr>
        <p:spPr>
          <a:xfrm flipV="1">
            <a:off x="5696374" y="3949847"/>
            <a:ext cx="297316" cy="292331"/>
          </a:xfrm>
          <a:prstGeom prst="straightConnector1">
            <a:avLst/>
          </a:prstGeom>
          <a:ln w="38100">
            <a:solidFill>
              <a:srgbClr val="00B0F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527061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feil nach rechts 27"/>
          <p:cNvSpPr/>
          <p:nvPr/>
        </p:nvSpPr>
        <p:spPr bwMode="auto">
          <a:xfrm>
            <a:off x="1429635" y="5160228"/>
            <a:ext cx="4557991" cy="569294"/>
          </a:xfrm>
          <a:prstGeom prst="rightArrow">
            <a:avLst/>
          </a:prstGeo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  <a:extLst/>
        </p:spPr>
        <p:txBody>
          <a:bodyPr vert="horz" lIns="486000" tIns="288000" rIns="288000" bIns="288000" numCol="1" spcCol="360000" rtlCol="0">
            <a:noAutofit/>
          </a:bodyPr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7" name="Pfeil nach rechts 26"/>
          <p:cNvSpPr/>
          <p:nvPr/>
        </p:nvSpPr>
        <p:spPr bwMode="auto">
          <a:xfrm>
            <a:off x="1429635" y="3611721"/>
            <a:ext cx="4557992" cy="569294"/>
          </a:xfrm>
          <a:prstGeom prst="rightArrow">
            <a:avLst/>
          </a:prstGeo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  <a:extLst/>
        </p:spPr>
        <p:txBody>
          <a:bodyPr vert="horz" lIns="486000" tIns="288000" rIns="288000" bIns="288000" numCol="1" spcCol="360000" rtlCol="0">
            <a:noAutofit/>
          </a:bodyPr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6" name="Pfeil nach rechts 25"/>
          <p:cNvSpPr/>
          <p:nvPr/>
        </p:nvSpPr>
        <p:spPr bwMode="auto">
          <a:xfrm>
            <a:off x="1429635" y="1962271"/>
            <a:ext cx="4557992" cy="569294"/>
          </a:xfrm>
          <a:prstGeom prst="rightArrow">
            <a:avLst/>
          </a:prstGeo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  <a:extLst/>
        </p:spPr>
        <p:txBody>
          <a:bodyPr vert="horz" lIns="486000" tIns="288000" rIns="288000" bIns="288000" numCol="1" spcCol="360000" rtlCol="0">
            <a:noAutofit/>
          </a:bodyPr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9425" y="395588"/>
            <a:ext cx="11233150" cy="406265"/>
          </a:xfrm>
        </p:spPr>
        <p:txBody>
          <a:bodyPr/>
          <a:lstStyle/>
          <a:p>
            <a:r>
              <a:rPr lang="de-DE" dirty="0"/>
              <a:t>Kontaktieren Sie mich mit Fragen, Anmerkungen und Diskussionsbedarf</a:t>
            </a:r>
          </a:p>
        </p:txBody>
      </p:sp>
      <p:sp>
        <p:nvSpPr>
          <p:cNvPr id="8" name="Rechteck 7"/>
          <p:cNvSpPr/>
          <p:nvPr/>
        </p:nvSpPr>
        <p:spPr bwMode="auto">
          <a:xfrm>
            <a:off x="6275388" y="1700213"/>
            <a:ext cx="5123960" cy="4284662"/>
          </a:xfrm>
          <a:prstGeom prst="rect">
            <a:avLst/>
          </a:prstGeom>
          <a:ln w="25400">
            <a:solidFill>
              <a:srgbClr val="4DC7D2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0" tIns="46797" rIns="0" bIns="46797" anchor="b" anchorCtr="0">
            <a:noAutofit/>
          </a:bodyPr>
          <a:lstStyle/>
          <a:p>
            <a:pPr>
              <a:spcAft>
                <a:spcPts val="300"/>
              </a:spcAft>
              <a:buClr>
                <a:schemeClr val="tx2"/>
              </a:buClr>
              <a:buSzPct val="100000"/>
            </a:pPr>
            <a:endParaRPr lang="de-DE" sz="1400">
              <a:latin typeface="+mn-lt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6519405" y="3896369"/>
            <a:ext cx="4636326" cy="1708120"/>
          </a:xfrm>
          <a:prstGeom prst="rect">
            <a:avLst/>
          </a:prstGeom>
          <a:gradFill flip="none" rotWithShape="1">
            <a:gsLst>
              <a:gs pos="34000">
                <a:srgbClr val="1E7992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  <a:extLst/>
        </p:spPr>
        <p:txBody>
          <a:bodyPr vert="horz" lIns="486000" tIns="288000" rIns="288000" bIns="288000" numCol="1" spcCol="360000" rtlCol="0">
            <a:noAutofit/>
          </a:bodyPr>
          <a:lstStyle/>
          <a:p>
            <a:pPr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60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6600744" y="3896368"/>
            <a:ext cx="1138589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72000" tIns="72000" rIns="72000" bIns="72000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Name: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6600744" y="4303082"/>
            <a:ext cx="1138589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72000" tIns="72000" rIns="72000" bIns="72000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Abteilung: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6600744" y="4709797"/>
            <a:ext cx="1138589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72000" tIns="72000" rIns="72000" bIns="72000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Telefon:</a:t>
            </a:r>
          </a:p>
        </p:txBody>
      </p:sp>
      <p:sp>
        <p:nvSpPr>
          <p:cNvPr id="13" name="Rechteck 12"/>
          <p:cNvSpPr/>
          <p:nvPr/>
        </p:nvSpPr>
        <p:spPr bwMode="auto">
          <a:xfrm>
            <a:off x="6600744" y="5116510"/>
            <a:ext cx="1138589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72000" tIns="72000" rIns="72000" bIns="72000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Mail:</a:t>
            </a:r>
          </a:p>
        </p:txBody>
      </p:sp>
      <p:sp>
        <p:nvSpPr>
          <p:cNvPr id="14" name="Rechteck 13"/>
          <p:cNvSpPr/>
          <p:nvPr/>
        </p:nvSpPr>
        <p:spPr bwMode="auto">
          <a:xfrm>
            <a:off x="7739954" y="3896368"/>
            <a:ext cx="3334438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0" tIns="71995" rIns="71995" bIns="71995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Matthias Rehfeldt</a:t>
            </a:r>
          </a:p>
        </p:txBody>
      </p:sp>
      <p:sp>
        <p:nvSpPr>
          <p:cNvPr id="15" name="Rechteck 14"/>
          <p:cNvSpPr/>
          <p:nvPr/>
        </p:nvSpPr>
        <p:spPr bwMode="auto">
          <a:xfrm>
            <a:off x="7739954" y="4303082"/>
            <a:ext cx="3220510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0" tIns="71995" rIns="71995" bIns="71995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CCE, Geschäftsfeld Nachfrageanalysen und  -projektionen</a:t>
            </a:r>
          </a:p>
        </p:txBody>
      </p:sp>
      <p:sp>
        <p:nvSpPr>
          <p:cNvPr id="16" name="Rechteck 15"/>
          <p:cNvSpPr/>
          <p:nvPr/>
        </p:nvSpPr>
        <p:spPr bwMode="auto">
          <a:xfrm>
            <a:off x="7739954" y="4709797"/>
            <a:ext cx="3334438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0" tIns="71995" rIns="71995" bIns="71995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+49 721 6809-412</a:t>
            </a:r>
          </a:p>
        </p:txBody>
      </p:sp>
      <p:sp>
        <p:nvSpPr>
          <p:cNvPr id="17" name="Rechteck 16"/>
          <p:cNvSpPr/>
          <p:nvPr/>
        </p:nvSpPr>
        <p:spPr bwMode="auto">
          <a:xfrm>
            <a:off x="7739954" y="5116510"/>
            <a:ext cx="3334438" cy="406639"/>
          </a:xfrm>
          <a:prstGeom prst="rect">
            <a:avLst/>
          </a:prstGeom>
          <a:noFill/>
          <a:ln w="12700">
            <a:noFill/>
            <a:round/>
            <a:headEnd/>
            <a:tailEnd/>
          </a:ln>
          <a:effectLst/>
          <a:extLst/>
        </p:spPr>
        <p:txBody>
          <a:bodyPr lIns="0" tIns="71995" rIns="71995" bIns="71995" spcCol="0" rtlCol="0" anchor="ctr"/>
          <a:lstStyle/>
          <a:p>
            <a:r>
              <a:rPr lang="de-DE" sz="1200" b="1" dirty="0">
                <a:solidFill>
                  <a:schemeClr val="bg1"/>
                </a:solidFill>
                <a:latin typeface="+mn-lt"/>
              </a:rPr>
              <a:t>matthias.rehfeldt@isi.fraunhofer.de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52829" y="2343806"/>
            <a:ext cx="3819731" cy="628328"/>
          </a:xfrm>
          <a:prstGeom prst="rect">
            <a:avLst/>
          </a:prstGeom>
        </p:spPr>
      </p:pic>
      <p:sp>
        <p:nvSpPr>
          <p:cNvPr id="19" name="Rechteck 18"/>
          <p:cNvSpPr/>
          <p:nvPr/>
        </p:nvSpPr>
        <p:spPr>
          <a:xfrm>
            <a:off x="7740127" y="2848013"/>
            <a:ext cx="308930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>
                <a:latin typeface="+mn-lt"/>
              </a:rPr>
              <a:t>http://www.forecast-model.eu/forecast-en/index.php</a:t>
            </a:r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3">
            <a:grayscl/>
          </a:blip>
          <a:stretch>
            <a:fillRect/>
          </a:stretch>
        </p:blipFill>
        <p:spPr>
          <a:xfrm>
            <a:off x="6355326" y="1956695"/>
            <a:ext cx="1350001" cy="10963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5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429635" y="5084875"/>
            <a:ext cx="2160000" cy="720000"/>
          </a:xfrm>
          <a:gradFill flip="none" rotWithShape="1">
            <a:gsLst>
              <a:gs pos="34000">
                <a:srgbClr val="1E7992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lIns="0" tIns="0" rIns="0" bIns="0" numCol="1" spcCol="360000" rtlCol="0">
            <a:noAutofit/>
          </a:bodyPr>
          <a:lstStyle/>
          <a:p>
            <a:pPr algn="ctr"/>
            <a:endParaRPr lang="de-DE" dirty="0"/>
          </a:p>
          <a:p>
            <a:pPr algn="ctr"/>
            <a:r>
              <a:rPr lang="de-DE" dirty="0"/>
              <a:t>Diskussionsbedarf?</a:t>
            </a:r>
          </a:p>
        </p:txBody>
      </p:sp>
      <p:sp>
        <p:nvSpPr>
          <p:cNvPr id="30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429635" y="3536368"/>
            <a:ext cx="2160000" cy="720000"/>
          </a:xfrm>
          <a:gradFill flip="none" rotWithShape="1">
            <a:gsLst>
              <a:gs pos="34000">
                <a:srgbClr val="1E7992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lIns="0" tIns="0" rIns="0" bIns="0" numCol="1" spcCol="360000" rtlCol="0">
            <a:noAutofit/>
          </a:bodyPr>
          <a:lstStyle/>
          <a:p>
            <a:pPr algn="ctr"/>
            <a:endParaRPr lang="de-DE" dirty="0"/>
          </a:p>
          <a:p>
            <a:pPr algn="ctr"/>
            <a:r>
              <a:rPr lang="de-DE" dirty="0"/>
              <a:t>Anmerkungen?</a:t>
            </a:r>
          </a:p>
        </p:txBody>
      </p:sp>
      <p:sp>
        <p:nvSpPr>
          <p:cNvPr id="31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1429635" y="1882009"/>
            <a:ext cx="2160000" cy="720000"/>
          </a:xfrm>
          <a:gradFill flip="none" rotWithShape="1">
            <a:gsLst>
              <a:gs pos="34000">
                <a:srgbClr val="1E7992"/>
              </a:gs>
              <a:gs pos="0">
                <a:srgbClr val="014A6B"/>
              </a:gs>
              <a:gs pos="74000">
                <a:schemeClr val="accent5">
                  <a:lumMod val="90000"/>
                  <a:lumOff val="10000"/>
                </a:schemeClr>
              </a:gs>
              <a:gs pos="100000">
                <a:srgbClr val="09B2AC"/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vert="horz" lIns="0" tIns="0" rIns="0" bIns="0" numCol="1" spcCol="360000" rtlCol="0">
            <a:noAutofit/>
          </a:bodyPr>
          <a:lstStyle/>
          <a:p>
            <a:pPr algn="ctr"/>
            <a:endParaRPr lang="de-DE" dirty="0"/>
          </a:p>
          <a:p>
            <a:pPr algn="ctr"/>
            <a:r>
              <a:rPr lang="de-DE" dirty="0"/>
              <a:t>Fragen?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D7CD14F-9554-43FB-B58A-34A9BD284342}" type="slidenum">
              <a:rPr lang="de-DE" smtClean="0"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1665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P_Fraunhofer_Master_16-9_ISI_DE_intern.potx" id="{FC4FCE53-F096-4CDC-B822-D1D2078FA4C2}" vid="{F387F0D2-2C20-41C1-8301-A591D0CDFD71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P_Fraunhofer_Master_16-9_ISI_DE_offen</Template>
  <TotalTime>0</TotalTime>
  <Words>186</Words>
  <Application>Microsoft Office PowerPoint</Application>
  <PresentationFormat>Breitbild</PresentationFormat>
  <Paragraphs>50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1" baseType="lpstr">
      <vt:lpstr>Arial</vt:lpstr>
      <vt:lpstr>Frutiger LT Com 45 Light</vt:lpstr>
      <vt:lpstr>Frutiger LT Com 65 Bold</vt:lpstr>
      <vt:lpstr>Frutiger LT Com 75 Black</vt:lpstr>
      <vt:lpstr>Wingdings</vt:lpstr>
      <vt:lpstr>Fraunhofer_Master_16-9</vt:lpstr>
      <vt:lpstr>think-cell Folie</vt:lpstr>
      <vt:lpstr>PowerPoint-Präsentation</vt:lpstr>
      <vt:lpstr>Ähnliche Bewertung von Potentialen</vt:lpstr>
      <vt:lpstr>Unterschiedliche Bewertung von Potentialen</vt:lpstr>
      <vt:lpstr>Kontaktieren Sie mich mit Fragen, Anmerkungen und Diskussionsbedarf</vt:lpstr>
    </vt:vector>
  </TitlesOfParts>
  <Company>Fraunhofer I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Rehfeldt, Matthias</dc:creator>
  <cp:lastModifiedBy>Meisel, Kathleen</cp:lastModifiedBy>
  <cp:revision>8</cp:revision>
  <dcterms:created xsi:type="dcterms:W3CDTF">2023-04-18T09:49:52Z</dcterms:created>
  <dcterms:modified xsi:type="dcterms:W3CDTF">2023-04-19T11:55:09Z</dcterms:modified>
</cp:coreProperties>
</file>